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1"/>
  </p:sldMasterIdLst>
  <p:notesMasterIdLst>
    <p:notesMasterId r:id="rId8"/>
  </p:notesMasterIdLst>
  <p:handoutMasterIdLst>
    <p:handoutMasterId r:id="rId9"/>
  </p:handoutMasterIdLst>
  <p:sldIdLst>
    <p:sldId id="256" r:id="rId2"/>
    <p:sldId id="1066" r:id="rId3"/>
    <p:sldId id="1070" r:id="rId4"/>
    <p:sldId id="1071" r:id="rId5"/>
    <p:sldId id="1072" r:id="rId6"/>
    <p:sldId id="1051" r:id="rId7"/>
  </p:sldIdLst>
  <p:sldSz cx="9144000" cy="5143500" type="screen16x9"/>
  <p:notesSz cx="6858000" cy="9144000"/>
  <p:custDataLst>
    <p:tags r:id="rId10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16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051"/>
    <a:srgbClr val="FFFFFF"/>
    <a:srgbClr val="4E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33" autoAdjust="0"/>
    <p:restoredTop sz="94398"/>
  </p:normalViewPr>
  <p:slideViewPr>
    <p:cSldViewPr snapToGrid="0" snapToObjects="1">
      <p:cViewPr varScale="1">
        <p:scale>
          <a:sx n="115" d="100"/>
          <a:sy n="115" d="100"/>
        </p:scale>
        <p:origin x="701" y="58"/>
      </p:cViewPr>
      <p:guideLst>
        <p:guide orient="horz" pos="1416"/>
        <p:guide pos="24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80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B14B49-6399-4E37-86B3-284E7AC88A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EB9386-410E-477E-89C3-9A98D118CC6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EB041A-171E-47B9-998C-E30695083F34}" type="datetimeFigureOut">
              <a:rPr lang="en-GB" smtClean="0"/>
              <a:t>22/05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B4433B-D282-42A5-B520-B4A2843130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93B7B0-1968-4069-8708-51797D484B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734E1-9047-44E5-9F45-3ECC20B3D5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714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9532B7-0D94-194A-9A04-10C00E075814}" type="datetimeFigureOut">
              <a:rPr lang="en-US" smtClean="0"/>
              <a:t>5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42387-FD4E-7B4E-AAFF-D9D62983A9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34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59756F44-220A-B04D-8DA7-30A201A73F0E}"/>
              </a:ext>
            </a:extLst>
          </p:cNvPr>
          <p:cNvGrpSpPr/>
          <p:nvPr userDrawn="1"/>
        </p:nvGrpSpPr>
        <p:grpSpPr>
          <a:xfrm>
            <a:off x="1993912" y="0"/>
            <a:ext cx="7156014" cy="5151966"/>
            <a:chOff x="1993912" y="0"/>
            <a:chExt cx="7156014" cy="515196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997C580-F9F7-FE4E-9D01-BE97A5C2FAB9}"/>
                </a:ext>
              </a:extLst>
            </p:cNvPr>
            <p:cNvSpPr/>
            <p:nvPr userDrawn="1"/>
          </p:nvSpPr>
          <p:spPr>
            <a:xfrm>
              <a:off x="7404100" y="0"/>
              <a:ext cx="1745826" cy="5151966"/>
            </a:xfrm>
            <a:prstGeom prst="rect">
              <a:avLst/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rapezoid 29">
              <a:extLst>
                <a:ext uri="{FF2B5EF4-FFF2-40B4-BE49-F238E27FC236}">
                  <a16:creationId xmlns:a16="http://schemas.microsoft.com/office/drawing/2014/main" id="{7C225564-EABE-CD43-B491-48E9A30F352A}"/>
                </a:ext>
              </a:extLst>
            </p:cNvPr>
            <p:cNvSpPr/>
            <p:nvPr userDrawn="1"/>
          </p:nvSpPr>
          <p:spPr>
            <a:xfrm>
              <a:off x="1993912" y="0"/>
              <a:ext cx="6648450" cy="5151966"/>
            </a:xfrm>
            <a:prstGeom prst="trapezoid">
              <a:avLst>
                <a:gd name="adj" fmla="val 16049"/>
              </a:avLst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72529" y="1835739"/>
            <a:ext cx="5928113" cy="464406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Trapezoid 15"/>
          <p:cNvSpPr/>
          <p:nvPr/>
        </p:nvSpPr>
        <p:spPr>
          <a:xfrm>
            <a:off x="7801047" y="4905751"/>
            <a:ext cx="475373" cy="247318"/>
          </a:xfrm>
          <a:prstGeom prst="trapezoid">
            <a:avLst>
              <a:gd name="adj" fmla="val 15882"/>
            </a:avLst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956550" y="4905745"/>
            <a:ext cx="1193376" cy="246221"/>
          </a:xfrm>
          <a:prstGeom prst="rect">
            <a:avLst/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7724492" y="4895688"/>
            <a:ext cx="136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i="0" spc="50" dirty="0">
                <a:solidFill>
                  <a:schemeClr val="bg1"/>
                </a:solidFill>
                <a:latin typeface="Helvetica Neue"/>
                <a:cs typeface="Helvetica Neue"/>
              </a:rPr>
              <a:t>mycervello.com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6A7B531-6101-D344-B1DA-97D65772CF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4833" y="4209705"/>
            <a:ext cx="1820800" cy="819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client / prospect logo (Use .</a:t>
            </a:r>
            <a:r>
              <a:rPr lang="en-US" dirty="0" err="1"/>
              <a:t>png</a:t>
            </a:r>
            <a:r>
              <a:rPr lang="en-US" dirty="0"/>
              <a:t> format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859A4D-5C10-F347-841B-9413BB4F48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72529" y="2308391"/>
            <a:ext cx="5928113" cy="36109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i="1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i="1" dirty="0"/>
              <a:t>Presentation sub-tit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31DDA27-55F1-3540-8D55-35FF177BB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72574" y="2681212"/>
            <a:ext cx="5928068" cy="24622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800" i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D – MONTH (Jan / Feb) - YYY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FB3389-79C7-634B-93E7-59EF1F5AD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32" y="211071"/>
            <a:ext cx="2505758" cy="614839"/>
          </a:xfrm>
          <a:prstGeom prst="rect">
            <a:avLst/>
          </a:prstGeom>
        </p:spPr>
      </p:pic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460A1B4-4D71-CB48-A986-BCE0226D0C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33" y="1421877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2D0294A8-185D-9848-B683-41A56FDFE02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834" y="1570491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1A6FD59-19FE-FD45-9F83-5D1C1F4F1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016" y="1959828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012B9304-CB1A-AA4B-8DEA-F055F0F339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917" y="2108442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9710566A-EFA1-9E44-8D21-EC336C7045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808" y="2476015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2F8A0683-F5D3-4C40-B22A-BCA5A9A6E1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335" y="2624629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61437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Purple Transi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0141AA-7767-0742-BA02-A30E4395BF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A8F7772-0FE0-A446-98F1-D72319071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1A78AAE-C8CE-CD4D-8271-EC103C4945E9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D4A7867A-F24C-AA4B-9F95-7C3703189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B5F6F8-0412-B04A-A91B-DBAAD4DE1B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633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urpl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481915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7E51AE3-89D3-294D-876D-451918960C7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3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3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3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3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3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529B8612-D8CB-314C-B4B7-56FD0B5E0B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7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ark Blue Transition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ACB783A-5051-A74F-833B-92926B7755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464C05C6-601B-C74E-A6F4-B0F2D6275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FE9E637-6BD9-084E-8D53-CA65B5A6FD35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4BB9F8EA-AB28-DD42-963B-1C628AAD39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5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76C432-EE6C-6B4D-BCD7-B54E30B581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779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986676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6797ACA-CE73-9746-87E0-EB13D14689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5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5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5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5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5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F4B07FFD-0C87-174D-9B31-86A212AFC0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17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ark Gray Transi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59DC648-E617-364A-9CE1-9A6ED5C0B7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B9710F6-82CD-914B-8284-BBBF730BAA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30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ark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399507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559C585-5E55-CF44-B687-E441F67799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tx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tx1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tx1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tx1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tx1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FCFE472A-FEB2-B142-85EC-AFFC8175BF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03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ight Gray Transition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9F5CB361-76A6-D249-A3F2-0AD6FAEB38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89CFAA-64A6-B948-8599-8ECFF26B5C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3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Light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13371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92B9002-37F9-474B-919F-5CE23C66E19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6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6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6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6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6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42A3F10E-3C59-2649-BAFA-8D75CFA330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08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- 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45C0EDA-1272-F147-95DD-8BE43F5782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66"/>
          <a:stretch/>
        </p:blipFill>
        <p:spPr>
          <a:xfrm>
            <a:off x="4404264" y="1236262"/>
            <a:ext cx="4739735" cy="40386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3101BE-1B05-E741-B540-216F23531D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180"/>
          <a:stretch/>
        </p:blipFill>
        <p:spPr>
          <a:xfrm>
            <a:off x="0" y="222050"/>
            <a:ext cx="9144000" cy="10708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1995E62-0892-5E4B-807C-B57C807A6A52}"/>
              </a:ext>
            </a:extLst>
          </p:cNvPr>
          <p:cNvSpPr txBox="1"/>
          <p:nvPr userDrawn="1"/>
        </p:nvSpPr>
        <p:spPr>
          <a:xfrm>
            <a:off x="414336" y="3289997"/>
            <a:ext cx="3784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pc="50" dirty="0">
                <a:solidFill>
                  <a:srgbClr val="FFFFFF"/>
                </a:solidFill>
                <a:latin typeface="+mn-lt"/>
                <a:cs typeface="Helvetica Neue"/>
              </a:rPr>
              <a:t>Boston  |  New York  |  Dallas  |  London | India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47ADB974-3F76-C441-8D7D-13713305F67A}"/>
              </a:ext>
            </a:extLst>
          </p:cNvPr>
          <p:cNvSpPr txBox="1">
            <a:spLocks/>
          </p:cNvSpPr>
          <p:nvPr userDrawn="1"/>
        </p:nvSpPr>
        <p:spPr>
          <a:xfrm>
            <a:off x="4444582" y="1693889"/>
            <a:ext cx="4493678" cy="32127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b="0" i="0" kern="1200" spc="50">
                <a:solidFill>
                  <a:srgbClr val="FFFFFF"/>
                </a:solidFill>
                <a:latin typeface="Helvetica Neue Light"/>
                <a:ea typeface="+mn-ea"/>
                <a:cs typeface="Helvetica Neue Light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et in touch with contributors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CDE6C5-B893-A044-A679-3EF0F33B7B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9323" y="2234233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BC2E713-688A-AB45-8B98-48F470884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323" y="2522955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9D0098D-05DD-8346-A7B6-F38D03E57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323" y="2866778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975812A-CBA8-FE43-9B9D-E5EC5C7B6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9323" y="3155500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052E75C-FF02-4C4C-B919-AE5219AB4A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9323" y="3485352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2B8B052E-7377-6149-92BB-26BBE732D5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9323" y="3774074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5D1027-0661-764C-9927-EC5CE43B9CAB}"/>
              </a:ext>
            </a:extLst>
          </p:cNvPr>
          <p:cNvSpPr txBox="1"/>
          <p:nvPr userDrawn="1"/>
        </p:nvSpPr>
        <p:spPr>
          <a:xfrm>
            <a:off x="414336" y="1693889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spc="50" dirty="0">
                <a:latin typeface="+mn-lt"/>
                <a:ea typeface="+mn-ea"/>
                <a:cs typeface="Helvetica Neue Light"/>
              </a:rPr>
              <a:t>Thank You!</a:t>
            </a:r>
            <a:endParaRPr lang="en-US" sz="3600" b="1" spc="50" dirty="0">
              <a:solidFill>
                <a:srgbClr val="FFFFFF"/>
              </a:solidFill>
              <a:latin typeface="+mn-lt"/>
              <a:cs typeface="Helvetica Neue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6B41-9425-164E-B4FC-FCB637BB793D}"/>
              </a:ext>
            </a:extLst>
          </p:cNvPr>
          <p:cNvSpPr txBox="1"/>
          <p:nvPr userDrawn="1"/>
        </p:nvSpPr>
        <p:spPr>
          <a:xfrm>
            <a:off x="414336" y="2340220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Learn more about Cervello at </a:t>
            </a:r>
            <a:r>
              <a:rPr lang="en-US" sz="1800" dirty="0" err="1"/>
              <a:t>mycervello.com</a:t>
            </a:r>
            <a:endParaRPr lang="en-US" sz="18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A9A1457-FC15-DE47-A103-B6B2711BCFE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213BD92D-F375-8B4E-A4CC-443CC10D6F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F9AC56F-28D2-3345-8856-68090090FD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585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genta Transition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3374104-3C19-FA43-BC0D-6BDC7B91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0844E-D26A-DA4E-9AF9-83B5DF753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/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721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gent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444207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tx2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tx2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tx2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tx2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tx2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tx2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9C65A18-537B-4C40-BE59-F7C79247F0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/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ark Orange Transi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952D16B-8AED-F146-8804-01826230E6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4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61B251E-1BCE-E744-AF48-9C3076676EA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955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065155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25372C3-59DA-7A4A-AFD5-3BFE120D15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4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4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4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4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4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00D7E503-2C5A-5345-A0CF-1913A57B7C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ight Orange Transi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4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0AA996-14BB-DE44-8952-046FD357420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5259F63-A341-8949-8E90-0BFDE56C68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4F89E4-FE25-084E-992E-940F4F52C3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0ACFCF7-DDE2-2A4F-80BF-380112DB26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D60F49-F3F1-9847-9AC3-558AE6B5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8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ght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674463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85F6CE-830B-B84E-876B-0B4D9F5AAD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1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1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1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34C48561-9977-F645-AB0A-961B4FB15F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74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ight Blue Transi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7DC5815-03A4-5343-AA28-3C0B0642FB70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9D666-85F7-AC4B-AF3A-57A78CDD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D19C447-AB70-234E-A6E5-F8AC7A19824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20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</a:t>
            </a:r>
            <a:r>
              <a:rPr lang="en-US" sz="700" b="1" i="0" spc="50" baseline="0" dirty="0" err="1">
                <a:solidFill>
                  <a:schemeClr val="tx1"/>
                </a:solidFill>
                <a:latin typeface="+mn-lt"/>
                <a:cs typeface="Helvetica Neue"/>
              </a:rPr>
              <a:t>Cervello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, a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BBB1B6CF-3C2E-2C44-A4CF-100F26C419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accent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2AB0826-CBD9-8240-AE49-4ECC8AED65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2269" y="4723544"/>
            <a:ext cx="1312529" cy="37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678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ight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906396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20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r>
              <a:rPr lang="en-US" sz="700" b="0" i="0" spc="50" baseline="0" dirty="0" err="1">
                <a:solidFill>
                  <a:schemeClr val="bg1"/>
                </a:solidFill>
                <a:latin typeface="+mn-lt"/>
                <a:cs typeface="Helvetica Neue"/>
              </a:rPr>
              <a:t>Cervello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, a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96C9F6-7B36-F14A-A407-847C531E32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2"/>
              </a:buClr>
              <a:buFont typeface="Wingdings" panose="05000000000000000000" pitchFamily="2" charset="2"/>
              <a:buChar char="§"/>
              <a:defRPr sz="900">
                <a:solidFill>
                  <a:schemeClr val="tx1"/>
                </a:solidFill>
              </a:defRPr>
            </a:lvl1pPr>
            <a:lvl2pPr marL="405059" indent="-135020">
              <a:buClr>
                <a:schemeClr val="accent2"/>
              </a:buClr>
              <a:buFont typeface="Courier New" panose="02070309020205020404" pitchFamily="49" charset="0"/>
              <a:buChar char="o"/>
              <a:defRPr sz="850">
                <a:solidFill>
                  <a:schemeClr val="tx1"/>
                </a:solidFill>
              </a:defRPr>
            </a:lvl2pPr>
            <a:lvl3pPr marL="8572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800">
                <a:solidFill>
                  <a:schemeClr val="tx1"/>
                </a:solidFill>
              </a:defRPr>
            </a:lvl3pPr>
            <a:lvl4pPr marL="1200150" indent="-171450">
              <a:buClr>
                <a:schemeClr val="accent2"/>
              </a:buClr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marL="1543050" indent="-171450">
              <a:buClr>
                <a:schemeClr val="accent2"/>
              </a:buClr>
              <a:buFont typeface="Courier New" panose="02070309020205020404" pitchFamily="49" charset="0"/>
              <a:buChar char="o"/>
              <a:defRPr sz="700">
                <a:solidFill>
                  <a:schemeClr val="tx1"/>
                </a:solidFill>
              </a:defRPr>
            </a:lvl5pPr>
            <a:lvl6pPr>
              <a:buClr>
                <a:schemeClr val="accent2"/>
              </a:buClr>
              <a:defRPr sz="700"/>
            </a:lvl6pPr>
          </a:lstStyle>
          <a:p>
            <a:pPr lvl="0"/>
            <a:r>
              <a:rPr lang="en-US" dirty="0"/>
              <a:t>Bullet One</a:t>
            </a:r>
          </a:p>
          <a:p>
            <a:pPr lvl="1"/>
            <a:r>
              <a:rPr lang="en-US" dirty="0"/>
              <a:t>Bullet Two</a:t>
            </a:r>
          </a:p>
          <a:p>
            <a:pPr lvl="2"/>
            <a:r>
              <a:rPr lang="en-US" dirty="0"/>
              <a:t>Bullet Three</a:t>
            </a:r>
          </a:p>
          <a:p>
            <a:pPr lvl="3"/>
            <a:r>
              <a:rPr lang="en-US" dirty="0"/>
              <a:t>Bullet Four</a:t>
            </a:r>
          </a:p>
          <a:p>
            <a:pPr lvl="4"/>
            <a:r>
              <a:rPr lang="en-US" dirty="0"/>
              <a:t>Bullet Five</a:t>
            </a:r>
          </a:p>
          <a:p>
            <a:pPr lvl="5"/>
            <a:r>
              <a:rPr lang="en-US" dirty="0"/>
              <a:t>Bullet Six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63A1E710-41EB-4C44-8A74-C4CA538A5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41107" y="4895474"/>
            <a:ext cx="424456" cy="274637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37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B72069-9F7B-2A41-AAA5-70E832B31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09825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832276-1966-284A-82F8-96AA0CC52F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1350" y="490878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732" r:id="rId2"/>
    <p:sldLayoutId id="2147483799" r:id="rId3"/>
    <p:sldLayoutId id="2147483808" r:id="rId4"/>
    <p:sldLayoutId id="2147483809" r:id="rId5"/>
    <p:sldLayoutId id="2147483794" r:id="rId6"/>
    <p:sldLayoutId id="2147483801" r:id="rId7"/>
    <p:sldLayoutId id="2147483795" r:id="rId8"/>
    <p:sldLayoutId id="2147483800" r:id="rId9"/>
    <p:sldLayoutId id="2147483796" r:id="rId10"/>
    <p:sldLayoutId id="2147483786" r:id="rId11"/>
    <p:sldLayoutId id="2147483798" r:id="rId12"/>
    <p:sldLayoutId id="2147483803" r:id="rId13"/>
    <p:sldLayoutId id="2147483797" r:id="rId14"/>
    <p:sldLayoutId id="2147483806" r:id="rId15"/>
    <p:sldLayoutId id="2147483810" r:id="rId16"/>
    <p:sldLayoutId id="2147483811" r:id="rId17"/>
    <p:sldLayoutId id="2147483807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D4683-FF07-654A-9F94-2469AE653B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 Mater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AC644-49B3-CD43-AEBF-F48888EE40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Get started with Pyth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54D286-2A58-9440-A01A-478FB1F3E2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(Friday) 22 – May – 202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96095C-89C1-A54F-9E7B-5A2179210E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Roshan Rajendr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69CC26-BEF4-264F-A30F-01FB0D2094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834" y="1570491"/>
            <a:ext cx="2222218" cy="216982"/>
          </a:xfrm>
        </p:spPr>
        <p:txBody>
          <a:bodyPr/>
          <a:lstStyle/>
          <a:p>
            <a:r>
              <a:rPr lang="en-US" dirty="0"/>
              <a:t>Analys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2A5732-4666-4D27-BA72-3585EE8B4CF1}"/>
              </a:ext>
            </a:extLst>
          </p:cNvPr>
          <p:cNvSpPr txBox="1">
            <a:spLocks/>
          </p:cNvSpPr>
          <p:nvPr/>
        </p:nvSpPr>
        <p:spPr>
          <a:xfrm>
            <a:off x="76683" y="1936087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05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Aakaash Ramnath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EFC8099-D126-4334-8C7A-1FF7BBA97191}"/>
              </a:ext>
            </a:extLst>
          </p:cNvPr>
          <p:cNvSpPr txBox="1">
            <a:spLocks/>
          </p:cNvSpPr>
          <p:nvPr/>
        </p:nvSpPr>
        <p:spPr>
          <a:xfrm>
            <a:off x="82808" y="2081093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9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Consultant</a:t>
            </a:r>
          </a:p>
        </p:txBody>
      </p:sp>
      <p:pic>
        <p:nvPicPr>
          <p:cNvPr id="13316" name="Picture 4" descr="Python Training Lucknow">
            <a:extLst>
              <a:ext uri="{FF2B5EF4-FFF2-40B4-BE49-F238E27FC236}">
                <a16:creationId xmlns:a16="http://schemas.microsoft.com/office/drawing/2014/main" id="{26D630DE-410C-4B6A-A619-7D2CCCA189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77" y="3723980"/>
            <a:ext cx="1396240" cy="139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567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D533722-AB6F-DD44-8773-BE51EFA7A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D533722-AB6F-DD44-8773-BE51EFA7A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B6EC8A-4B2B-054D-ACBC-24ABD89DC5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prstClr val="white"/>
              </a:solidFill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BF6977-53F3-4FA5-A96C-3313850293BE}"/>
              </a:ext>
            </a:extLst>
          </p:cNvPr>
          <p:cNvSpPr txBox="1">
            <a:spLocks/>
          </p:cNvSpPr>
          <p:nvPr/>
        </p:nvSpPr>
        <p:spPr>
          <a:xfrm>
            <a:off x="392891" y="1378784"/>
            <a:ext cx="6527800" cy="288528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endParaRPr lang="en-GB" sz="1500" i="1" dirty="0">
              <a:solidFill>
                <a:prstClr val="black"/>
              </a:solidFill>
              <a:latin typeface="Arial Nova Light" panose="020B03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7ABA9B-AB59-4A18-8C75-4135D8C7F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Journe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C95B3F5-3B8C-4B7E-AF2A-8AAAE01AD2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480" y="1127120"/>
            <a:ext cx="8708571" cy="361905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IN" sz="1800" b="1" dirty="0"/>
              <a:t>What was the challenge?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Entry-level or Fresh grads : India team On-boarded about 25 resources in the past 9 month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Onboarding Process Involved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IN" sz="1150" dirty="0"/>
              <a:t>Project Handholding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IN" sz="1150" dirty="0"/>
              <a:t>Upgrade Data Engineering skill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These challenges involved lot of personal time(In addition to the daily project work) and repetitive tasks as and when people were onboarded. The team collectively looked for a permanent solution to remediate this.  </a:t>
            </a:r>
            <a:endParaRPr lang="en-IN" sz="1250" dirty="0"/>
          </a:p>
          <a:p>
            <a:pPr marL="270039" lvl="1" indent="0">
              <a:buNone/>
            </a:pPr>
            <a:endParaRPr lang="en-IN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IN" sz="1800" b="1" dirty="0"/>
              <a:t>Long term Solu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Involve multiple team members to gather scattered content (Python, SQL and few other areas)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Review and Organize the material into a reusable format with sample data, examples and self learning instruction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Opportunity to gain confidence through presentations of material, open discussion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IN" sz="1200" dirty="0"/>
              <a:t>Teach the value of presentations and documentation to help the team grow organicall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6D858DE-2B9E-42EF-ADE0-7D083BF4C1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Why we started this initiative?</a:t>
            </a:r>
          </a:p>
        </p:txBody>
      </p:sp>
    </p:spTree>
    <p:extLst>
      <p:ext uri="{BB962C8B-B14F-4D97-AF65-F5344CB8AC3E}">
        <p14:creationId xmlns:p14="http://schemas.microsoft.com/office/powerpoint/2010/main" val="508291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042A9-023C-475A-A8CB-3FFC670B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isting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FD7B77-C717-45BB-BAD9-00AD5FA73A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992" y="1064718"/>
            <a:ext cx="8708571" cy="3906475"/>
          </a:xfrm>
        </p:spPr>
        <p:txBody>
          <a:bodyPr/>
          <a:lstStyle/>
          <a:p>
            <a:r>
              <a:rPr lang="en-US" sz="1200" b="1" dirty="0"/>
              <a:t>Interactive &amp; Structured</a:t>
            </a:r>
            <a:r>
              <a:rPr lang="en-US" sz="1200" dirty="0"/>
              <a:t> </a:t>
            </a:r>
            <a:r>
              <a:rPr lang="en-US" sz="1050" dirty="0"/>
              <a:t>: </a:t>
            </a:r>
            <a:r>
              <a:rPr lang="en-US" sz="1050" dirty="0" err="1"/>
              <a:t>Jupyter</a:t>
            </a:r>
            <a:r>
              <a:rPr lang="en-US" sz="1050" dirty="0"/>
              <a:t> Notebook</a:t>
            </a:r>
          </a:p>
          <a:p>
            <a:r>
              <a:rPr lang="en-US" sz="1200" b="1" dirty="0"/>
              <a:t>Python 3.x</a:t>
            </a:r>
          </a:p>
          <a:p>
            <a:r>
              <a:rPr lang="en-US" sz="1050" dirty="0"/>
              <a:t>Learning-python3 notebook – Basic </a:t>
            </a:r>
            <a:r>
              <a:rPr lang="en-US" sz="1200" b="1" dirty="0"/>
              <a:t>features and functionalities </a:t>
            </a:r>
            <a:r>
              <a:rPr lang="en-US" sz="1050" dirty="0"/>
              <a:t>of Python,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Python objects, basic types, and variabl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Python built-in functions and callabl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Python object attributes (methods and properties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Formatting strings and using placeholder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List, set, and </a:t>
            </a:r>
            <a:r>
              <a:rPr lang="en-US" sz="950" dirty="0" err="1"/>
              <a:t>dict</a:t>
            </a:r>
            <a:r>
              <a:rPr lang="en-US" sz="950" dirty="0"/>
              <a:t> comprehensions</a:t>
            </a:r>
          </a:p>
          <a:p>
            <a:r>
              <a:rPr lang="en-US" sz="1050" dirty="0"/>
              <a:t>Extensions notebook – Predominantly used </a:t>
            </a:r>
            <a:r>
              <a:rPr lang="en-US" sz="1200" b="1" dirty="0"/>
              <a:t>Python librari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00" dirty="0"/>
              <a:t>Pandas - Data frame handling/flat files handl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 err="1"/>
              <a:t>Numpy</a:t>
            </a:r>
            <a:r>
              <a:rPr lang="en-US" sz="950" dirty="0"/>
              <a:t> - Playing with number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Azure Blob connectivity - File transfer interactions with Azure Blob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SFTP &amp; FTP - Transfer files through FTP/SFTP location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Matplotlib - Reporting/plotting charts and basic data exploration and analysi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 err="1"/>
              <a:t>pyodbc</a:t>
            </a:r>
            <a:r>
              <a:rPr lang="en-US" sz="950" dirty="0"/>
              <a:t> - SQL server connector to interact with the tables/views/other DB entiti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950" dirty="0"/>
              <a:t>Request - Make REST API calls like POST/GET/PUT/DELETE/PATCH/</a:t>
            </a:r>
            <a:r>
              <a:rPr lang="en-US" sz="950" dirty="0" err="1"/>
              <a:t>etc</a:t>
            </a:r>
            <a:r>
              <a:rPr lang="en-US" sz="950" dirty="0"/>
              <a:t>,.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73DB57-A280-407F-B3BC-57CA5294D7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87765"/>
            <a:ext cx="8708571" cy="323851"/>
          </a:xfrm>
        </p:spPr>
        <p:txBody>
          <a:bodyPr/>
          <a:lstStyle/>
          <a:p>
            <a:r>
              <a:rPr lang="en-IN" dirty="0"/>
              <a:t>What do we have as part of the material currently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36AB8C-753E-45B2-9F6E-6F28CC4FE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0441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63A66-043C-4521-AADD-3B643D947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F3B5FD-E9CA-42CA-843B-E630E34A9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665" y="1122547"/>
            <a:ext cx="8350762" cy="35078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b="1" dirty="0"/>
              <a:t>Short term – Through Team Collaboration  </a:t>
            </a:r>
            <a:endParaRPr lang="en-US" sz="1100" b="1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200" dirty="0"/>
              <a:t>Add challenging problems and allow the team to self asses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200" dirty="0"/>
              <a:t>To work on notebook navigation and make the content as primer to make it simple for beginner and experienced Data Engineer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200" dirty="0"/>
              <a:t>To included more libraries and features of Python that covers extensive areas like Web scrapping and interaction, Spark, API Data pull. </a:t>
            </a:r>
          </a:p>
          <a:p>
            <a:endParaRPr lang="en-US" sz="1100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1" dirty="0"/>
              <a:t>Long term</a:t>
            </a:r>
            <a:endParaRPr lang="en-US" sz="1200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200" dirty="0"/>
              <a:t>Centralize this for anyone who would like to contribute and add in new topics/examples to help increase knowledge base. A Wiki of sorts, to evolve this into a </a:t>
            </a:r>
            <a:r>
              <a:rPr lang="en-US" sz="1200" dirty="0" err="1"/>
              <a:t>Cervello’s</a:t>
            </a:r>
            <a:r>
              <a:rPr lang="en-US" sz="1200" dirty="0"/>
              <a:t> Curative Python material with the help of the entire team and not just few players. 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200" dirty="0"/>
              <a:t>Keep up with the market trends and share good practice coding standards. </a:t>
            </a:r>
          </a:p>
          <a:p>
            <a:pPr marL="270039" lvl="1" indent="0">
              <a:buNone/>
            </a:pPr>
            <a:br>
              <a:rPr lang="en-US" sz="1200" dirty="0"/>
            </a:br>
            <a:endParaRPr lang="en-US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02EAA4-64AA-43B8-ADEA-6194FEC2D4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87765"/>
            <a:ext cx="8708571" cy="323851"/>
          </a:xfrm>
        </p:spPr>
        <p:txBody>
          <a:bodyPr/>
          <a:lstStyle/>
          <a:p>
            <a:r>
              <a:rPr lang="en-IN" dirty="0"/>
              <a:t>How do we proceed with this from here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4169A-CA28-4371-B5EF-4DA94CA71E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835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62966-09BD-4738-9F37-926DBA7B1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ctive contributo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AEC89-62EE-40DB-9B96-276C0EF2E8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1266" name="Picture 2" descr="Profile photo for Roshan Rajendra">
            <a:extLst>
              <a:ext uri="{FF2B5EF4-FFF2-40B4-BE49-F238E27FC236}">
                <a16:creationId xmlns:a16="http://schemas.microsoft.com/office/drawing/2014/main" id="{CD4AA6A6-3CB4-4D00-B58A-A1608EE236B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97" y="1139550"/>
            <a:ext cx="1376156" cy="137615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Profile photo for Lokeshkumar Gunasekar">
            <a:extLst>
              <a:ext uri="{FF2B5EF4-FFF2-40B4-BE49-F238E27FC236}">
                <a16:creationId xmlns:a16="http://schemas.microsoft.com/office/drawing/2014/main" id="{39225135-F450-42C9-BBB1-A27529C92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036" y="2515703"/>
            <a:ext cx="1376155" cy="137615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5DEFB48-D124-41DC-8317-F116624303E2}"/>
              </a:ext>
            </a:extLst>
          </p:cNvPr>
          <p:cNvSpPr/>
          <p:nvPr/>
        </p:nvSpPr>
        <p:spPr>
          <a:xfrm>
            <a:off x="465897" y="2657061"/>
            <a:ext cx="1555060" cy="32385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Roshan Rajendra</a:t>
            </a:r>
          </a:p>
        </p:txBody>
      </p:sp>
      <p:pic>
        <p:nvPicPr>
          <p:cNvPr id="11" name="Picture 10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9290551D-19A3-460C-832C-8E96FC58FB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174" y="1228369"/>
            <a:ext cx="1044852" cy="13433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D5E39FC-78B2-4FF4-AE22-2011ED43B56D}"/>
              </a:ext>
            </a:extLst>
          </p:cNvPr>
          <p:cNvSpPr/>
          <p:nvPr/>
        </p:nvSpPr>
        <p:spPr>
          <a:xfrm>
            <a:off x="6734174" y="2741221"/>
            <a:ext cx="1258824" cy="32385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Tushar </a:t>
            </a:r>
            <a:r>
              <a:rPr lang="en-IN" b="1" dirty="0" err="1"/>
              <a:t>Porwal</a:t>
            </a:r>
            <a:endParaRPr lang="en-IN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D3016B-7546-4489-A67D-738A05703458}"/>
              </a:ext>
            </a:extLst>
          </p:cNvPr>
          <p:cNvSpPr/>
          <p:nvPr/>
        </p:nvSpPr>
        <p:spPr>
          <a:xfrm>
            <a:off x="3250509" y="4028661"/>
            <a:ext cx="2075208" cy="32385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Lokeshkumar Gunasekar</a:t>
            </a:r>
          </a:p>
        </p:txBody>
      </p:sp>
    </p:spTree>
    <p:extLst>
      <p:ext uri="{BB962C8B-B14F-4D97-AF65-F5344CB8AC3E}">
        <p14:creationId xmlns:p14="http://schemas.microsoft.com/office/powerpoint/2010/main" val="503738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 and 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9A5EAF-8E16-DB40-88C8-0AAE7B9F2E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363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pA0YcyqlQGZyVmKQ7S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ervello Powerpoint Theme 2017">
  <a:themeElements>
    <a:clrScheme name="Cervello Color Template 2017">
      <a:dk1>
        <a:srgbClr val="536E77"/>
      </a:dk1>
      <a:lt1>
        <a:sysClr val="window" lastClr="FFFFFF"/>
      </a:lt1>
      <a:dk2>
        <a:srgbClr val="E8194F"/>
      </a:dk2>
      <a:lt2>
        <a:srgbClr val="FFFFFF"/>
      </a:lt2>
      <a:accent1>
        <a:srgbClr val="F58220"/>
      </a:accent1>
      <a:accent2>
        <a:srgbClr val="3AB0C8"/>
      </a:accent2>
      <a:accent3>
        <a:srgbClr val="792981"/>
      </a:accent3>
      <a:accent4>
        <a:srgbClr val="F04923"/>
      </a:accent4>
      <a:accent5>
        <a:srgbClr val="007298"/>
      </a:accent5>
      <a:accent6>
        <a:srgbClr val="728D93"/>
      </a:accent6>
      <a:hlink>
        <a:srgbClr val="3AB0C8"/>
      </a:hlink>
      <a:folHlink>
        <a:srgbClr val="007298"/>
      </a:folHlink>
    </a:clrScheme>
    <a:fontScheme name="Cervello Helvetica Neue Light Powerpoint Font 2017">
      <a:majorFont>
        <a:latin typeface="Helvetica Neue Light"/>
        <a:ea typeface=""/>
        <a:cs typeface=""/>
      </a:majorFont>
      <a:minorFont>
        <a:latin typeface="Helvetica Neu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- Cervello, a Kearney company - PPT.pptx" id="{63E89346-7A64-45DC-8E35-B1BDC8E5CA98}" vid="{A878A4B1-B99B-4664-AA5C-A56BAD5D01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0 - Cervello, a Kearney company - PPT</Template>
  <TotalTime>182</TotalTime>
  <Words>464</Words>
  <Application>Microsoft Office PowerPoint</Application>
  <PresentationFormat>On-screen Show (16:9)</PresentationFormat>
  <Paragraphs>5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Arial Nova Light</vt:lpstr>
      <vt:lpstr>Calibri</vt:lpstr>
      <vt:lpstr>Courier New</vt:lpstr>
      <vt:lpstr>Helvetica Neue</vt:lpstr>
      <vt:lpstr>Helvetica Neue Light</vt:lpstr>
      <vt:lpstr>Wingdings</vt:lpstr>
      <vt:lpstr>4_Cervello Powerpoint Theme 2017</vt:lpstr>
      <vt:lpstr>think-cell Slide</vt:lpstr>
      <vt:lpstr>Python Material</vt:lpstr>
      <vt:lpstr>Journey</vt:lpstr>
      <vt:lpstr>Existing features</vt:lpstr>
      <vt:lpstr>Next steps</vt:lpstr>
      <vt:lpstr>Active contributors</vt:lpstr>
      <vt:lpstr>Q and 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akaash Ramnath</dc:creator>
  <cp:lastModifiedBy>Ramnath, Aakaash</cp:lastModifiedBy>
  <cp:revision>21</cp:revision>
  <cp:lastPrinted>2017-11-07T12:33:34Z</cp:lastPrinted>
  <dcterms:created xsi:type="dcterms:W3CDTF">2020-05-21T06:30:15Z</dcterms:created>
  <dcterms:modified xsi:type="dcterms:W3CDTF">2020-05-22T11:29:16Z</dcterms:modified>
</cp:coreProperties>
</file>